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5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  <p:sldMasterId id="2147483675" r:id="rId4"/>
    <p:sldMasterId id="2147483679" r:id="rId5"/>
  </p:sldMasterIdLst>
  <p:notesMasterIdLst>
    <p:notesMasterId r:id="rId7"/>
  </p:notesMasterIdLst>
  <p:handoutMasterIdLst>
    <p:handoutMasterId r:id="rId8"/>
  </p:handoutMasterIdLst>
  <p:sldIdLst>
    <p:sldId id="261" r:id="rId6"/>
  </p:sldIdLst>
  <p:sldSz cx="12188825" cy="6721475"/>
  <p:notesSz cx="6742113" cy="9872663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14" autoAdjust="0"/>
    <p:restoredTop sz="94684" autoAdjust="0"/>
  </p:normalViewPr>
  <p:slideViewPr>
    <p:cSldViewPr snapToGrid="0" snapToObjects="1">
      <p:cViewPr varScale="1">
        <p:scale>
          <a:sx n="134" d="100"/>
          <a:sy n="134" d="100"/>
        </p:scale>
        <p:origin x="248" y="304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1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tags" Target="tags/tag1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Relationship Id="rId2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63563" y="619125"/>
            <a:ext cx="7875588" cy="4343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5971" y="5304975"/>
            <a:ext cx="5745398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6797" y="9494013"/>
            <a:ext cx="534861" cy="184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1593" y="109881"/>
            <a:ext cx="65" cy="122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563563" y="619125"/>
            <a:ext cx="7875588" cy="4343400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5971" y="5304975"/>
            <a:ext cx="5745398" cy="246221"/>
          </a:xfrm>
        </p:spPr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42808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1" Type="http://schemas.openxmlformats.org/officeDocument/2006/relationships/tags" Target="../tags/tag23.xml"/><Relationship Id="rId12" Type="http://schemas.openxmlformats.org/officeDocument/2006/relationships/tags" Target="../tags/tag24.xml"/><Relationship Id="rId13" Type="http://schemas.openxmlformats.org/officeDocument/2006/relationships/slideMaster" Target="../slideMasters/slideMaster1.xml"/><Relationship Id="rId14" Type="http://schemas.openxmlformats.org/officeDocument/2006/relationships/oleObject" Target="../embeddings/oleObject2.bin"/><Relationship Id="rId15" Type="http://schemas.openxmlformats.org/officeDocument/2006/relationships/image" Target="../media/image2.emf"/><Relationship Id="rId16" Type="http://schemas.openxmlformats.org/officeDocument/2006/relationships/image" Target="../media/image3.jpg"/><Relationship Id="rId17" Type="http://schemas.openxmlformats.org/officeDocument/2006/relationships/image" Target="../media/image4.emf"/><Relationship Id="rId18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14.xml"/><Relationship Id="rId3" Type="http://schemas.openxmlformats.org/officeDocument/2006/relationships/tags" Target="../tags/tag15.xml"/><Relationship Id="rId4" Type="http://schemas.openxmlformats.org/officeDocument/2006/relationships/tags" Target="../tags/tag16.xml"/><Relationship Id="rId5" Type="http://schemas.openxmlformats.org/officeDocument/2006/relationships/tags" Target="../tags/tag17.xml"/><Relationship Id="rId6" Type="http://schemas.openxmlformats.org/officeDocument/2006/relationships/tags" Target="../tags/tag18.xml"/><Relationship Id="rId7" Type="http://schemas.openxmlformats.org/officeDocument/2006/relationships/tags" Target="../tags/tag19.xml"/><Relationship Id="rId8" Type="http://schemas.openxmlformats.org/officeDocument/2006/relationships/tags" Target="../tags/tag20.xml"/><Relationship Id="rId9" Type="http://schemas.openxmlformats.org/officeDocument/2006/relationships/tags" Target="../tags/tag21.xml"/><Relationship Id="rId10" Type="http://schemas.openxmlformats.org/officeDocument/2006/relationships/tags" Target="../tags/tag2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4" Type="http://schemas.openxmlformats.org/officeDocument/2006/relationships/tags" Target="../tags/tag52.xml"/><Relationship Id="rId5" Type="http://schemas.openxmlformats.org/officeDocument/2006/relationships/slideMaster" Target="../slideMasters/slideMaster4.xml"/><Relationship Id="rId6" Type="http://schemas.openxmlformats.org/officeDocument/2006/relationships/image" Target="../media/image9.jpg"/><Relationship Id="rId7" Type="http://schemas.openxmlformats.org/officeDocument/2006/relationships/oleObject" Target="../embeddings/oleObject6.bin"/><Relationship Id="rId8" Type="http://schemas.openxmlformats.org/officeDocument/2006/relationships/image" Target="../media/image8.emf"/><Relationship Id="rId9" Type="http://schemas.openxmlformats.org/officeDocument/2006/relationships/oleObject" Target="../embeddings/oleObject7.bin"/><Relationship Id="rId10" Type="http://schemas.openxmlformats.org/officeDocument/2006/relationships/image" Target="../media/image2.emf"/><Relationship Id="rId11" Type="http://schemas.openxmlformats.org/officeDocument/2006/relationships/image" Target="../media/image3.jpg"/><Relationship Id="rId1" Type="http://schemas.openxmlformats.org/officeDocument/2006/relationships/vmlDrawing" Target="../drawings/vmlDrawing6.vml"/><Relationship Id="rId2" Type="http://schemas.openxmlformats.org/officeDocument/2006/relationships/tags" Target="../tags/tag5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53.xml"/><Relationship Id="rId2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54.xml"/><Relationship Id="rId2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tags" Target="../tags/tag88.xml"/><Relationship Id="rId2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tags" Target="../tags/tag89.xml"/><Relationship Id="rId2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4" Type="http://schemas.openxmlformats.org/officeDocument/2006/relationships/image" Target="../media/image4.emf"/><Relationship Id="rId5" Type="http://schemas.openxmlformats.org/officeDocument/2006/relationships/image" Target="../media/image5.emf"/><Relationship Id="rId1" Type="http://schemas.openxmlformats.org/officeDocument/2006/relationships/tags" Target="../tags/tag28.xml"/><Relationship Id="rId2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5.emf"/><Relationship Id="rId1" Type="http://schemas.openxmlformats.org/officeDocument/2006/relationships/tags" Target="../tags/tag32.xml"/><Relationship Id="rId2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2159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22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" y="1"/>
            <a:ext cx="12181257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90792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482758" y="36514"/>
            <a:ext cx="40161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90792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4/2018 9:45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90792" y="655639"/>
            <a:ext cx="243015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Printed 2016/05/25 17:31 Tokyo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90791" y="4930775"/>
            <a:ext cx="6713031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90791" y="5199063"/>
            <a:ext cx="6713031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90792" y="5895976"/>
            <a:ext cx="6965659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84049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84049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1"/>
            <a:ext cx="1218450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981890" y="6305550"/>
            <a:ext cx="920477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538" y="6443664"/>
            <a:ext cx="2226160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3590792" y="2133601"/>
            <a:ext cx="6713029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3590792" y="3867150"/>
            <a:ext cx="6713029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623108" y="6435725"/>
            <a:ext cx="265584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623109" y="6435725"/>
            <a:ext cx="283938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623109" y="6435725"/>
            <a:ext cx="283938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623109" y="6435725"/>
            <a:ext cx="283938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623109" y="6435725"/>
            <a:ext cx="283938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88918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35477" y="-1"/>
            <a:ext cx="935334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15345"/>
              </p:ext>
            </p:extLst>
          </p:nvPr>
        </p:nvGraphicFramePr>
        <p:xfrm>
          <a:off x="2161" y="1590"/>
          <a:ext cx="215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61" y="1590"/>
                        <a:ext cx="215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2888" y="36515"/>
            <a:ext cx="40161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68480" y="6254081"/>
            <a:ext cx="90026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68480" y="6377192"/>
            <a:ext cx="381479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68481" y="6500304"/>
            <a:ext cx="361805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85164" y="1434421"/>
            <a:ext cx="8475944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85164" y="3119079"/>
            <a:ext cx="847594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164" y="3584143"/>
            <a:ext cx="847594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94229" y="187976"/>
            <a:ext cx="22206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222" y="6254081"/>
            <a:ext cx="5223239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2159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22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" y="1"/>
            <a:ext cx="12181257" cy="672147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44" y="230189"/>
            <a:ext cx="1172243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49019" y="6508273"/>
            <a:ext cx="12754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78702" y="6508273"/>
            <a:ext cx="103342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5227" y="50803"/>
            <a:ext cx="123124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47904" y="-13134"/>
            <a:ext cx="173574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6654" y="-495300"/>
            <a:ext cx="1884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49019" y="6508273"/>
            <a:ext cx="12754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78702" y="6508273"/>
            <a:ext cx="103342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5227" y="50803"/>
            <a:ext cx="123124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88825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590"/>
          <a:ext cx="215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590"/>
                        <a:ext cx="215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35477" y="3392"/>
            <a:ext cx="935334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84919" y="36515"/>
            <a:ext cx="40161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68480" y="6254081"/>
            <a:ext cx="90026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68479" y="6377192"/>
            <a:ext cx="3920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68481" y="6500304"/>
            <a:ext cx="361805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85164" y="1434421"/>
            <a:ext cx="8475944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85164" y="3119079"/>
            <a:ext cx="847594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164" y="3584143"/>
            <a:ext cx="847594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96709" y="192025"/>
            <a:ext cx="22206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7222" y="6254080"/>
            <a:ext cx="5223239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49019" y="6508273"/>
            <a:ext cx="12754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78702" y="6508273"/>
            <a:ext cx="103342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44104" y="50802"/>
            <a:ext cx="143941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49019" y="6508273"/>
            <a:ext cx="12754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78702" y="6508273"/>
            <a:ext cx="103342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44104" y="50802"/>
            <a:ext cx="143941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3108" y="6435725"/>
            <a:ext cx="283938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" y="317"/>
            <a:ext cx="12188392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82758" y="36514"/>
            <a:ext cx="40161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90792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4/2018 9:45 A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90792" y="655639"/>
            <a:ext cx="243015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2016/05/25 17:31 Tokyo Standard Time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90791" y="4930775"/>
            <a:ext cx="6713031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90791" y="5199063"/>
            <a:ext cx="6713031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90792" y="5895976"/>
            <a:ext cx="6965659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84049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84049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1"/>
            <a:ext cx="1218450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81890" y="6305550"/>
            <a:ext cx="920477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538" y="6443664"/>
            <a:ext cx="2226160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90792" y="2133601"/>
            <a:ext cx="6713029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90792" y="3867150"/>
            <a:ext cx="6713029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1943" y="230188"/>
            <a:ext cx="11722431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623108" y="6435725"/>
            <a:ext cx="283938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3353" y="2087563"/>
            <a:ext cx="10362119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64" y="3808414"/>
            <a:ext cx="853109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623109" y="6435725"/>
            <a:ext cx="283938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644418" y="6434981"/>
            <a:ext cx="192360" cy="153888"/>
          </a:xfrm>
        </p:spPr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90792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82758" y="36514"/>
            <a:ext cx="40161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90792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4/2018 9:45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90792" y="655639"/>
            <a:ext cx="243015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2016/05/25 17:31 Tokyo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90791" y="4930775"/>
            <a:ext cx="6713031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90791" y="5199063"/>
            <a:ext cx="6713031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90792" y="5895976"/>
            <a:ext cx="6965659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84049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84049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1"/>
            <a:ext cx="1218450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81890" y="6305550"/>
            <a:ext cx="920477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538" y="6443664"/>
            <a:ext cx="2226160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90792" y="2133601"/>
            <a:ext cx="6713029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90792" y="3867150"/>
            <a:ext cx="6713029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3108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8.xml"/><Relationship Id="rId12" Type="http://schemas.openxmlformats.org/officeDocument/2006/relationships/tags" Target="../tags/tag9.xml"/><Relationship Id="rId13" Type="http://schemas.openxmlformats.org/officeDocument/2006/relationships/tags" Target="../tags/tag10.xml"/><Relationship Id="rId14" Type="http://schemas.openxmlformats.org/officeDocument/2006/relationships/tags" Target="../tags/tag11.xml"/><Relationship Id="rId15" Type="http://schemas.openxmlformats.org/officeDocument/2006/relationships/tags" Target="../tags/tag12.xml"/><Relationship Id="rId16" Type="http://schemas.openxmlformats.org/officeDocument/2006/relationships/tags" Target="../tags/tag13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tags" Target="../tags/tag5.xml"/><Relationship Id="rId9" Type="http://schemas.openxmlformats.org/officeDocument/2006/relationships/tags" Target="../tags/tag6.xml"/><Relationship Id="rId10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jpg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3.vml"/><Relationship Id="rId8" Type="http://schemas.openxmlformats.org/officeDocument/2006/relationships/tags" Target="../tags/tag25.xml"/><Relationship Id="rId9" Type="http://schemas.openxmlformats.org/officeDocument/2006/relationships/tags" Target="../tags/tag26.xml"/><Relationship Id="rId10" Type="http://schemas.openxmlformats.org/officeDocument/2006/relationships/tags" Target="../tags/tag2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4.vml"/><Relationship Id="rId6" Type="http://schemas.openxmlformats.org/officeDocument/2006/relationships/tags" Target="../tags/tag29.xml"/><Relationship Id="rId7" Type="http://schemas.openxmlformats.org/officeDocument/2006/relationships/tags" Target="../tags/tag30.xml"/><Relationship Id="rId8" Type="http://schemas.openxmlformats.org/officeDocument/2006/relationships/tags" Target="../tags/tag31.xml"/><Relationship Id="rId9" Type="http://schemas.openxmlformats.org/officeDocument/2006/relationships/oleObject" Target="../embeddings/oleObject4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36.xml"/><Relationship Id="rId20" Type="http://schemas.openxmlformats.org/officeDocument/2006/relationships/tags" Target="../tags/tag47.xml"/><Relationship Id="rId21" Type="http://schemas.openxmlformats.org/officeDocument/2006/relationships/tags" Target="../tags/tag48.xml"/><Relationship Id="rId22" Type="http://schemas.openxmlformats.org/officeDocument/2006/relationships/tags" Target="../tags/tag49.xml"/><Relationship Id="rId23" Type="http://schemas.openxmlformats.org/officeDocument/2006/relationships/oleObject" Target="../embeddings/oleObject5.bin"/><Relationship Id="rId24" Type="http://schemas.openxmlformats.org/officeDocument/2006/relationships/image" Target="../media/image1.emf"/><Relationship Id="rId10" Type="http://schemas.openxmlformats.org/officeDocument/2006/relationships/tags" Target="../tags/tag37.xml"/><Relationship Id="rId11" Type="http://schemas.openxmlformats.org/officeDocument/2006/relationships/tags" Target="../tags/tag38.xml"/><Relationship Id="rId12" Type="http://schemas.openxmlformats.org/officeDocument/2006/relationships/tags" Target="../tags/tag39.xml"/><Relationship Id="rId13" Type="http://schemas.openxmlformats.org/officeDocument/2006/relationships/tags" Target="../tags/tag40.xml"/><Relationship Id="rId14" Type="http://schemas.openxmlformats.org/officeDocument/2006/relationships/tags" Target="../tags/tag41.xml"/><Relationship Id="rId15" Type="http://schemas.openxmlformats.org/officeDocument/2006/relationships/tags" Target="../tags/tag42.xml"/><Relationship Id="rId16" Type="http://schemas.openxmlformats.org/officeDocument/2006/relationships/tags" Target="../tags/tag43.xml"/><Relationship Id="rId17" Type="http://schemas.openxmlformats.org/officeDocument/2006/relationships/tags" Target="../tags/tag44.xml"/><Relationship Id="rId18" Type="http://schemas.openxmlformats.org/officeDocument/2006/relationships/tags" Target="../tags/tag45.xml"/><Relationship Id="rId19" Type="http://schemas.openxmlformats.org/officeDocument/2006/relationships/tags" Target="../tags/tag46.xml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3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5.vml"/><Relationship Id="rId6" Type="http://schemas.openxmlformats.org/officeDocument/2006/relationships/tags" Target="../tags/tag33.xml"/><Relationship Id="rId7" Type="http://schemas.openxmlformats.org/officeDocument/2006/relationships/tags" Target="../tags/tag34.xml"/><Relationship Id="rId8" Type="http://schemas.openxmlformats.org/officeDocument/2006/relationships/tags" Target="../tags/tag35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tags" Target="../tags/tag69.xml"/><Relationship Id="rId21" Type="http://schemas.openxmlformats.org/officeDocument/2006/relationships/tags" Target="../tags/tag70.xml"/><Relationship Id="rId22" Type="http://schemas.openxmlformats.org/officeDocument/2006/relationships/tags" Target="../tags/tag71.xml"/><Relationship Id="rId23" Type="http://schemas.openxmlformats.org/officeDocument/2006/relationships/tags" Target="../tags/tag72.xml"/><Relationship Id="rId24" Type="http://schemas.openxmlformats.org/officeDocument/2006/relationships/tags" Target="../tags/tag73.xml"/><Relationship Id="rId25" Type="http://schemas.openxmlformats.org/officeDocument/2006/relationships/tags" Target="../tags/tag74.xml"/><Relationship Id="rId26" Type="http://schemas.openxmlformats.org/officeDocument/2006/relationships/tags" Target="../tags/tag75.xml"/><Relationship Id="rId27" Type="http://schemas.openxmlformats.org/officeDocument/2006/relationships/tags" Target="../tags/tag76.xml"/><Relationship Id="rId28" Type="http://schemas.openxmlformats.org/officeDocument/2006/relationships/tags" Target="../tags/tag77.xml"/><Relationship Id="rId29" Type="http://schemas.openxmlformats.org/officeDocument/2006/relationships/tags" Target="../tags/tag78.x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7.vml"/><Relationship Id="rId30" Type="http://schemas.openxmlformats.org/officeDocument/2006/relationships/tags" Target="../tags/tag79.xml"/><Relationship Id="rId31" Type="http://schemas.openxmlformats.org/officeDocument/2006/relationships/tags" Target="../tags/tag80.xml"/><Relationship Id="rId32" Type="http://schemas.openxmlformats.org/officeDocument/2006/relationships/tags" Target="../tags/tag81.xml"/><Relationship Id="rId9" Type="http://schemas.openxmlformats.org/officeDocument/2006/relationships/tags" Target="../tags/tag58.xml"/><Relationship Id="rId6" Type="http://schemas.openxmlformats.org/officeDocument/2006/relationships/tags" Target="../tags/tag55.xml"/><Relationship Id="rId7" Type="http://schemas.openxmlformats.org/officeDocument/2006/relationships/tags" Target="../tags/tag56.xml"/><Relationship Id="rId8" Type="http://schemas.openxmlformats.org/officeDocument/2006/relationships/tags" Target="../tags/tag57.xml"/><Relationship Id="rId33" Type="http://schemas.openxmlformats.org/officeDocument/2006/relationships/tags" Target="../tags/tag82.xml"/><Relationship Id="rId34" Type="http://schemas.openxmlformats.org/officeDocument/2006/relationships/tags" Target="../tags/tag83.xml"/><Relationship Id="rId35" Type="http://schemas.openxmlformats.org/officeDocument/2006/relationships/tags" Target="../tags/tag84.xml"/><Relationship Id="rId36" Type="http://schemas.openxmlformats.org/officeDocument/2006/relationships/tags" Target="../tags/tag85.xml"/><Relationship Id="rId10" Type="http://schemas.openxmlformats.org/officeDocument/2006/relationships/tags" Target="../tags/tag59.xml"/><Relationship Id="rId11" Type="http://schemas.openxmlformats.org/officeDocument/2006/relationships/tags" Target="../tags/tag60.xml"/><Relationship Id="rId12" Type="http://schemas.openxmlformats.org/officeDocument/2006/relationships/tags" Target="../tags/tag61.xml"/><Relationship Id="rId13" Type="http://schemas.openxmlformats.org/officeDocument/2006/relationships/tags" Target="../tags/tag62.xml"/><Relationship Id="rId14" Type="http://schemas.openxmlformats.org/officeDocument/2006/relationships/tags" Target="../tags/tag63.xml"/><Relationship Id="rId15" Type="http://schemas.openxmlformats.org/officeDocument/2006/relationships/tags" Target="../tags/tag64.xml"/><Relationship Id="rId16" Type="http://schemas.openxmlformats.org/officeDocument/2006/relationships/tags" Target="../tags/tag65.xml"/><Relationship Id="rId17" Type="http://schemas.openxmlformats.org/officeDocument/2006/relationships/tags" Target="../tags/tag66.xml"/><Relationship Id="rId18" Type="http://schemas.openxmlformats.org/officeDocument/2006/relationships/tags" Target="../tags/tag67.xml"/><Relationship Id="rId19" Type="http://schemas.openxmlformats.org/officeDocument/2006/relationships/tags" Target="../tags/tag68.xml"/><Relationship Id="rId37" Type="http://schemas.openxmlformats.org/officeDocument/2006/relationships/tags" Target="../tags/tag86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2159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22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9"/>
            <a:ext cx="12188825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992615" y="36514"/>
            <a:ext cx="89391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0949275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4/2018 9:45 AM Central Europea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11280295" y="4114417"/>
            <a:ext cx="162704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Printed 2016/05/25 17:31 Tokyo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975692" y="1951038"/>
            <a:ext cx="58514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61943" y="230188"/>
            <a:ext cx="11722431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194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61942" y="531814"/>
            <a:ext cx="117224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943" y="6080125"/>
            <a:ext cx="11627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943" y="6435725"/>
            <a:ext cx="933432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75692" y="1127125"/>
            <a:ext cx="579967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007701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51185" y="6403976"/>
            <a:ext cx="54509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7"/>
            <a:ext cx="12188825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2159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22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73050" y="457201"/>
            <a:ext cx="89391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0949275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4/2018 9:45 AM Central European Standard Time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1280295" y="4114417"/>
            <a:ext cx="162704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2016/05/25 17:31 Tokyo Standard Time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5692" y="1951038"/>
            <a:ext cx="5851499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43" y="230188"/>
            <a:ext cx="11722431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4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942" y="531814"/>
            <a:ext cx="117224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943" y="6080125"/>
            <a:ext cx="11627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943" y="6435725"/>
            <a:ext cx="933432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5692" y="1127125"/>
            <a:ext cx="579967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07701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451185" y="6403976"/>
            <a:ext cx="54509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11679684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2159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22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88825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92615" y="36514"/>
            <a:ext cx="89391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49276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4/2018 9:45 AM Central Europea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80295" y="4114417"/>
            <a:ext cx="162704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2016/05/25 17:31 Tokyo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5692" y="1951038"/>
            <a:ext cx="58514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43" y="230188"/>
            <a:ext cx="11722431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4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942" y="531814"/>
            <a:ext cx="117224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943" y="6080125"/>
            <a:ext cx="11627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943" y="6435725"/>
            <a:ext cx="933432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5692" y="1127125"/>
            <a:ext cx="579967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07701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451185" y="6403976"/>
            <a:ext cx="54509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61451556"/>
              </p:ext>
            </p:extLst>
          </p:nvPr>
        </p:nvGraphicFramePr>
        <p:xfrm>
          <a:off x="0" y="0"/>
          <a:ext cx="2159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22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22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5227" y="50803"/>
            <a:ext cx="123124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71190" y="4113493"/>
            <a:ext cx="245260" cy="94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44" y="230190"/>
            <a:ext cx="1172243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44" y="75765"/>
            <a:ext cx="5003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44" y="554866"/>
            <a:ext cx="117224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43" y="6305946"/>
            <a:ext cx="116274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43" y="6507559"/>
            <a:ext cx="101526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5692" y="1254580"/>
            <a:ext cx="579967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01529" y="285751"/>
            <a:ext cx="482831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5298" y="279401"/>
            <a:ext cx="779077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1315" y="279401"/>
            <a:ext cx="109306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37285" y="250825"/>
            <a:ext cx="847089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0092" y="6507559"/>
            <a:ext cx="46636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1705" y="1951380"/>
            <a:ext cx="4388430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852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9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22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22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71190" y="4113493"/>
            <a:ext cx="245260" cy="94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44" y="230190"/>
            <a:ext cx="1172243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44" y="75765"/>
            <a:ext cx="5003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44" y="554866"/>
            <a:ext cx="117224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43" y="6305946"/>
            <a:ext cx="116274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43" y="6507559"/>
            <a:ext cx="101526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5694" y="1951380"/>
            <a:ext cx="3674376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5692" y="1254580"/>
            <a:ext cx="579967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01529" y="285751"/>
            <a:ext cx="482831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5298" y="279401"/>
            <a:ext cx="779077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1315" y="279401"/>
            <a:ext cx="109306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37285" y="250825"/>
            <a:ext cx="847089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0092" y="6507559"/>
            <a:ext cx="46636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44104" y="50802"/>
            <a:ext cx="143941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55552" y="431801"/>
            <a:ext cx="779077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41569" y="431801"/>
            <a:ext cx="109306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87539" y="403225"/>
            <a:ext cx="847089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3243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4" Type="http://schemas.openxmlformats.org/officeDocument/2006/relationships/slideLayout" Target="../slideLayouts/slideLayout12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0.bin"/><Relationship Id="rId7" Type="http://schemas.openxmlformats.org/officeDocument/2006/relationships/image" Target="../media/image8.emf"/><Relationship Id="rId8" Type="http://schemas.openxmlformats.org/officeDocument/2006/relationships/image" Target="../media/image11.jpeg"/><Relationship Id="rId9" Type="http://schemas.openxmlformats.org/officeDocument/2006/relationships/image" Target="../media/image12.jpeg"/><Relationship Id="rId10" Type="http://schemas.openxmlformats.org/officeDocument/2006/relationships/image" Target="../media/image13.jpeg"/><Relationship Id="rId1" Type="http://schemas.openxmlformats.org/officeDocument/2006/relationships/vmlDrawing" Target="../drawings/vmlDrawing9.vml"/><Relationship Id="rId2" Type="http://schemas.openxmlformats.org/officeDocument/2006/relationships/tags" Target="../tags/tag9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4537081" y="4079993"/>
            <a:ext cx="999376" cy="479419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6173306" y="4079993"/>
            <a:ext cx="999376" cy="479419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4537081" y="4905414"/>
            <a:ext cx="1205364" cy="46561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903805"/>
              </p:ext>
            </p:extLst>
          </p:nvPr>
        </p:nvGraphicFramePr>
        <p:xfrm>
          <a:off x="1613693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693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13693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314324" y="230189"/>
            <a:ext cx="10258425" cy="738664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The copy machine and service company – our insight made the client drive their sales transformation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3943275" y="1479551"/>
            <a:ext cx="3827946" cy="2215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Conducted a large-scale web survey and </a:t>
            </a:r>
            <a:r>
              <a:rPr lang="en-US" altLang="ja-JP" sz="1200" b="1" dirty="0" err="1">
                <a:solidFill>
                  <a:schemeClr val="accent4"/>
                </a:solidFill>
                <a:ea typeface="MS PGothic" pitchFamily="34" charset="-128"/>
              </a:rPr>
              <a:t>FGI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 to identify </a:t>
            </a:r>
            <a:r>
              <a:rPr lang="en-US" altLang="ja-JP" sz="1200" dirty="0" err="1">
                <a:solidFill>
                  <a:schemeClr val="tx2"/>
                </a:solidFill>
                <a:ea typeface="MS PGothic" pitchFamily="34" charset="-128"/>
              </a:rPr>
              <a:t>KSF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, and found some key insights that surprised clients: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No clear relation between sales visit frequency and customer satisfaction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Less share in large customers than they expected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More than 30% small customers not use traditional channel but only web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Conducted organizational diagnosis with Sales Navigator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Proposed a transformation direction</a:t>
            </a:r>
          </a:p>
        </p:txBody>
      </p:sp>
      <p:pic>
        <p:nvPicPr>
          <p:cNvPr id="27" name="Picture 26"/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794" y="4082738"/>
            <a:ext cx="592124" cy="784891"/>
          </a:xfrm>
          <a:prstGeom prst="rect">
            <a:avLst/>
          </a:prstGeom>
        </p:spPr>
      </p:pic>
      <p:sp>
        <p:nvSpPr>
          <p:cNvPr id="28" name="Rectangle 103"/>
          <p:cNvSpPr>
            <a:spLocks noChangeArrowheads="1"/>
          </p:cNvSpPr>
          <p:nvPr/>
        </p:nvSpPr>
        <p:spPr bwMode="gray">
          <a:xfrm>
            <a:off x="6344079" y="4111211"/>
            <a:ext cx="9305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>
                <a:solidFill>
                  <a:schemeClr val="bg1"/>
                </a:solidFill>
                <a:ea typeface="MS PGothic" pitchFamily="34" charset="-128"/>
              </a:rPr>
              <a:t>Ayano</a:t>
            </a:r>
          </a:p>
          <a:p>
            <a:r>
              <a:rPr lang="en-US" altLang="ja-JP" sz="1200" dirty="0">
                <a:solidFill>
                  <a:schemeClr val="bg1"/>
                </a:solidFill>
                <a:ea typeface="MS PGothic" pitchFamily="34" charset="-128"/>
              </a:rPr>
              <a:t>Uda</a:t>
            </a:r>
          </a:p>
        </p:txBody>
      </p:sp>
      <p:sp>
        <p:nvSpPr>
          <p:cNvPr id="29" name="Rectangle 100"/>
          <p:cNvSpPr>
            <a:spLocks noChangeArrowheads="1"/>
          </p:cNvSpPr>
          <p:nvPr/>
        </p:nvSpPr>
        <p:spPr bwMode="gray">
          <a:xfrm>
            <a:off x="3977275" y="3803311"/>
            <a:ext cx="20907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 dirty="0" err="1">
                <a:solidFill>
                  <a:schemeClr val="tx2"/>
                </a:solidFill>
                <a:ea typeface="MS PGothic" pitchFamily="34" charset="-128"/>
              </a:rPr>
              <a:t>M&amp;S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 Expertise</a:t>
            </a:r>
          </a:p>
        </p:txBody>
      </p:sp>
      <p:sp>
        <p:nvSpPr>
          <p:cNvPr id="30" name="Line 101"/>
          <p:cNvSpPr>
            <a:spLocks noChangeShapeType="1"/>
          </p:cNvSpPr>
          <p:nvPr/>
        </p:nvSpPr>
        <p:spPr bwMode="auto">
          <a:xfrm>
            <a:off x="3977275" y="4014706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32" name="Rectangle 103"/>
          <p:cNvSpPr>
            <a:spLocks noChangeArrowheads="1"/>
          </p:cNvSpPr>
          <p:nvPr/>
        </p:nvSpPr>
        <p:spPr bwMode="gray">
          <a:xfrm>
            <a:off x="4706560" y="5028744"/>
            <a:ext cx="9305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 err="1">
                <a:solidFill>
                  <a:schemeClr val="bg1"/>
                </a:solidFill>
                <a:ea typeface="MS PGothic" pitchFamily="34" charset="-128"/>
              </a:rPr>
              <a:t>Jochen</a:t>
            </a:r>
            <a:r>
              <a:rPr lang="en-US" altLang="ja-JP" sz="1200" dirty="0">
                <a:solidFill>
                  <a:schemeClr val="bg1"/>
                </a:solidFill>
                <a:ea typeface="MS PGothic" pitchFamily="34" charset="-128"/>
              </a:rPr>
              <a:t> Ulrich</a:t>
            </a:r>
          </a:p>
        </p:txBody>
      </p:sp>
      <p:pic>
        <p:nvPicPr>
          <p:cNvPr id="19484" name="Picture 28" descr="http://webassets.intranet.mckinsey.com/person/360003371691/images/medium.jpg?1464229371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7275" y="4907938"/>
            <a:ext cx="592124" cy="784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86" name="Picture 30" descr="http://webassets.intranet.mckinsey.com/person/85000172843/images/medium.jpg?1464229531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7275" y="4082738"/>
            <a:ext cx="592124" cy="784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103"/>
          <p:cNvSpPr>
            <a:spLocks noChangeArrowheads="1"/>
          </p:cNvSpPr>
          <p:nvPr/>
        </p:nvSpPr>
        <p:spPr bwMode="gray">
          <a:xfrm>
            <a:off x="4706560" y="4111211"/>
            <a:ext cx="9305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>
                <a:solidFill>
                  <a:schemeClr val="bg1"/>
                </a:solidFill>
                <a:ea typeface="MS PGothic" pitchFamily="34" charset="-128"/>
              </a:rPr>
              <a:t>Yukari </a:t>
            </a:r>
            <a:r>
              <a:rPr lang="en-US" altLang="ja-JP" sz="1200" dirty="0" err="1">
                <a:solidFill>
                  <a:schemeClr val="bg1"/>
                </a:solidFill>
                <a:ea typeface="MS PGothic" pitchFamily="34" charset="-128"/>
              </a:rPr>
              <a:t>Kuramoto</a:t>
            </a:r>
            <a:endParaRPr lang="en-US" altLang="ja-JP" sz="1200" dirty="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37" name="Rectangle 96"/>
          <p:cNvSpPr>
            <a:spLocks noChangeArrowheads="1"/>
          </p:cNvSpPr>
          <p:nvPr/>
        </p:nvSpPr>
        <p:spPr bwMode="gray">
          <a:xfrm>
            <a:off x="8297406" y="1479550"/>
            <a:ext cx="3075444" cy="2769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Following the insight that their traditional sales approach and structure do not fit the current market demand, </a:t>
            </a: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they reviewed their sales transformation plan considering our proposals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: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Shift sales force from existing customers to new customers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Improve sales efficacy by reducing visit frequency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Use dealers more for small customers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Finally it is announced that t</a:t>
            </a: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hey will start a pilot project reflecting our diagnosis and proposal</a:t>
            </a:r>
          </a:p>
          <a:p>
            <a:pPr lvl="1">
              <a:spcBef>
                <a:spcPct val="20000"/>
              </a:spcBef>
            </a:pPr>
            <a:endParaRPr lang="en-US" altLang="ja-JP" sz="1200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36" name="Rectangle 13">
            <a:extLst>
              <a:ext uri="{FF2B5EF4-FFF2-40B4-BE49-F238E27FC236}">
                <a16:creationId xmlns:a16="http://schemas.microsoft.com/office/drawing/2014/main" xmlns="" id="{29789CB9-B36C-734C-8BA8-034C5249F8A6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1457325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TMT | Asia-Pacifi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13">
            <a:extLst>
              <a:ext uri="{FF2B5EF4-FFF2-40B4-BE49-F238E27FC236}">
                <a16:creationId xmlns:a16="http://schemas.microsoft.com/office/drawing/2014/main" xmlns="" id="{A16C80D3-0F94-8247-8BD5-20DB81C41F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563381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MED010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472184" y="1492503"/>
            <a:ext cx="2944907" cy="2105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Largest B2B copy machine and service company in Asia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, enjoying high profitability for long time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Forced to transform its sales force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 due to several structural industrial changes such as paper-less and stronger purchasing power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Need to identify what customers expect sales team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to design and lead their sales transformation in a right direc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22105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0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106064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1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06064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2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06064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43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078242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4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078242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431681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463961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758115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758115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Anuradha Sarin\Documents\16 Case Codification process\M&amp;S Cases\ASIA_MICHELLE CHUA CASES\2016 CASES\Fuji Xerox_Sales Transf leveraging Sales Navigator\2016 M&amp;S Case Study_Sales Force Transformation leveraging Sales Navigator_K Miyak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5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1267</TotalTime>
  <Words>231</Words>
  <Application>Microsoft Macintosh PowerPoint</Application>
  <PresentationFormat>Custom</PresentationFormat>
  <Paragraphs>3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Georgia</vt:lpstr>
      <vt:lpstr>MS PGothic</vt:lpstr>
      <vt:lpstr>ＭＳ Ｐゴシック</vt:lpstr>
      <vt:lpstr>Times New Roman</vt:lpstr>
      <vt:lpstr>Arial</vt:lpstr>
      <vt:lpstr>AW2014</vt:lpstr>
      <vt:lpstr>Blank</vt:lpstr>
      <vt:lpstr>Firm Format - English (US)</vt:lpstr>
      <vt:lpstr>M&amp;S Theme</vt:lpstr>
      <vt:lpstr>Firm Format - template_Grey</vt:lpstr>
      <vt:lpstr>think-cell Slide</vt:lpstr>
      <vt:lpstr>The copy machine and service company – our insight made the client drive their sales transformation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72</cp:revision>
  <cp:lastPrinted>2016-05-25T08:32:01Z</cp:lastPrinted>
  <dcterms:created xsi:type="dcterms:W3CDTF">2014-02-06T06:04:59Z</dcterms:created>
  <dcterms:modified xsi:type="dcterms:W3CDTF">2019-05-01T22:3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